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3.xml" ContentType="application/vnd.openxmlformats-officedocument.presentationml.slideMaster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55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4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52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281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42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  <p:sldMasterId id="2147483886" r:id="rId3"/>
  </p:sldMasterIdLst>
  <p:notesMasterIdLst>
    <p:notesMasterId r:id="rId6"/>
  </p:notesMasterIdLst>
  <p:handoutMasterIdLst>
    <p:handoutMasterId r:id="rId7"/>
  </p:handoutMasterIdLst>
  <p:sldIdLst>
    <p:sldId id="3845" r:id="rId4"/>
    <p:sldId id="2147472024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57" autoAdjust="0"/>
  </p:normalViewPr>
  <p:slideViewPr>
    <p:cSldViewPr snapToGrid="0" snapToObjects="1">
      <p:cViewPr varScale="1">
        <p:scale>
          <a:sx n="40" d="100"/>
          <a:sy n="40" d="100"/>
        </p:scale>
        <p:origin x="44" y="6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customXml" Target="../customXml/item1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0 June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0 June 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4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40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3.xml"/><Relationship Id="rId4" Type="http://schemas.openxmlformats.org/officeDocument/2006/relationships/tags" Target="../tags/tag342.xml"/><Relationship Id="rId9" Type="http://schemas.openxmlformats.org/officeDocument/2006/relationships/image" Target="../media/image10.jpe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48.xml"/><Relationship Id="rId11" Type="http://schemas.openxmlformats.org/officeDocument/2006/relationships/image" Target="../media/image1.emf"/><Relationship Id="rId5" Type="http://schemas.openxmlformats.org/officeDocument/2006/relationships/tags" Target="../tags/tag347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46.xml"/><Relationship Id="rId9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image" Target="../media/image8.emf"/><Relationship Id="rId4" Type="http://schemas.openxmlformats.org/officeDocument/2006/relationships/tags" Target="../tags/tag353.xml"/><Relationship Id="rId9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8.xml"/><Relationship Id="rId7" Type="http://schemas.openxmlformats.org/officeDocument/2006/relationships/tags" Target="../tags/tag362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61.xml"/><Relationship Id="rId5" Type="http://schemas.openxmlformats.org/officeDocument/2006/relationships/tags" Target="../tags/tag360.xml"/><Relationship Id="rId10" Type="http://schemas.openxmlformats.org/officeDocument/2006/relationships/image" Target="../media/image8.emf"/><Relationship Id="rId4" Type="http://schemas.openxmlformats.org/officeDocument/2006/relationships/tags" Target="../tags/tag359.xml"/><Relationship Id="rId9" Type="http://schemas.openxmlformats.org/officeDocument/2006/relationships/oleObject" Target="../embeddings/oleObject30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67.xml"/><Relationship Id="rId5" Type="http://schemas.openxmlformats.org/officeDocument/2006/relationships/tags" Target="../tags/tag366.xml"/><Relationship Id="rId10" Type="http://schemas.openxmlformats.org/officeDocument/2006/relationships/image" Target="../media/image8.emf"/><Relationship Id="rId4" Type="http://schemas.openxmlformats.org/officeDocument/2006/relationships/tags" Target="../tags/tag365.xml"/><Relationship Id="rId9" Type="http://schemas.openxmlformats.org/officeDocument/2006/relationships/oleObject" Target="../embeddings/oleObject31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73.xml"/><Relationship Id="rId11" Type="http://schemas.openxmlformats.org/officeDocument/2006/relationships/image" Target="../media/image8.emf"/><Relationship Id="rId5" Type="http://schemas.openxmlformats.org/officeDocument/2006/relationships/tags" Target="../tags/tag372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371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13" Type="http://schemas.openxmlformats.org/officeDocument/2006/relationships/image" Target="../media/image11.png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12" Type="http://schemas.openxmlformats.org/officeDocument/2006/relationships/image" Target="../media/image1.emf"/><Relationship Id="rId2" Type="http://schemas.openxmlformats.org/officeDocument/2006/relationships/tags" Target="../tags/tag37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80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3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8.xml"/><Relationship Id="rId9" Type="http://schemas.openxmlformats.org/officeDocument/2006/relationships/tags" Target="../tags/tag38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13" Type="http://schemas.openxmlformats.org/officeDocument/2006/relationships/image" Target="../media/image11.png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12" Type="http://schemas.openxmlformats.org/officeDocument/2006/relationships/image" Target="../media/image1.emf"/><Relationship Id="rId2" Type="http://schemas.openxmlformats.org/officeDocument/2006/relationships/tags" Target="../tags/tag384.xml"/><Relationship Id="rId1" Type="http://schemas.openxmlformats.org/officeDocument/2006/relationships/vmlDrawing" Target="../drawings/vmlDrawing34.vml"/><Relationship Id="rId6" Type="http://schemas.openxmlformats.org/officeDocument/2006/relationships/tags" Target="../tags/tag388.xml"/><Relationship Id="rId11" Type="http://schemas.openxmlformats.org/officeDocument/2006/relationships/oleObject" Target="../embeddings/oleObject34.bin"/><Relationship Id="rId5" Type="http://schemas.openxmlformats.org/officeDocument/2006/relationships/tags" Target="../tags/tag38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86.xml"/><Relationship Id="rId9" Type="http://schemas.openxmlformats.org/officeDocument/2006/relationships/tags" Target="../tags/tag39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image" Target="../media/image11.png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8.emf"/><Relationship Id="rId2" Type="http://schemas.openxmlformats.org/officeDocument/2006/relationships/tags" Target="../tags/tag39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96.xml"/><Relationship Id="rId11" Type="http://schemas.openxmlformats.org/officeDocument/2006/relationships/oleObject" Target="../embeddings/oleObject35.bin"/><Relationship Id="rId5" Type="http://schemas.openxmlformats.org/officeDocument/2006/relationships/tags" Target="../tags/tag39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94.xml"/><Relationship Id="rId9" Type="http://schemas.openxmlformats.org/officeDocument/2006/relationships/tags" Target="../tags/tag39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06.xml"/><Relationship Id="rId13" Type="http://schemas.openxmlformats.org/officeDocument/2006/relationships/image" Target="../media/image11.png"/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12" Type="http://schemas.openxmlformats.org/officeDocument/2006/relationships/image" Target="../media/image1.emf"/><Relationship Id="rId2" Type="http://schemas.openxmlformats.org/officeDocument/2006/relationships/tags" Target="../tags/tag400.xml"/><Relationship Id="rId1" Type="http://schemas.openxmlformats.org/officeDocument/2006/relationships/vmlDrawing" Target="../drawings/vmlDrawing36.vml"/><Relationship Id="rId6" Type="http://schemas.openxmlformats.org/officeDocument/2006/relationships/tags" Target="../tags/tag404.xml"/><Relationship Id="rId11" Type="http://schemas.openxmlformats.org/officeDocument/2006/relationships/oleObject" Target="../embeddings/oleObject36.bin"/><Relationship Id="rId5" Type="http://schemas.openxmlformats.org/officeDocument/2006/relationships/tags" Target="../tags/tag40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02.xml"/><Relationship Id="rId9" Type="http://schemas.openxmlformats.org/officeDocument/2006/relationships/tags" Target="../tags/tag40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13" Type="http://schemas.openxmlformats.org/officeDocument/2006/relationships/image" Target="../media/image11.png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image" Target="../media/image8.emf"/><Relationship Id="rId2" Type="http://schemas.openxmlformats.org/officeDocument/2006/relationships/tags" Target="../tags/tag408.xml"/><Relationship Id="rId1" Type="http://schemas.openxmlformats.org/officeDocument/2006/relationships/vmlDrawing" Target="../drawings/vmlDrawing37.vml"/><Relationship Id="rId6" Type="http://schemas.openxmlformats.org/officeDocument/2006/relationships/tags" Target="../tags/tag412.xml"/><Relationship Id="rId11" Type="http://schemas.openxmlformats.org/officeDocument/2006/relationships/oleObject" Target="../embeddings/oleObject37.bin"/><Relationship Id="rId5" Type="http://schemas.openxmlformats.org/officeDocument/2006/relationships/tags" Target="../tags/tag41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10.xml"/><Relationship Id="rId9" Type="http://schemas.openxmlformats.org/officeDocument/2006/relationships/tags" Target="../tags/tag41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image" Target="../media/image9.png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image" Target="../media/image8.emf"/><Relationship Id="rId2" Type="http://schemas.openxmlformats.org/officeDocument/2006/relationships/tags" Target="../tags/tag416.xml"/><Relationship Id="rId1" Type="http://schemas.openxmlformats.org/officeDocument/2006/relationships/vmlDrawing" Target="../drawings/vmlDrawing38.vml"/><Relationship Id="rId6" Type="http://schemas.openxmlformats.org/officeDocument/2006/relationships/tags" Target="../tags/tag420.xml"/><Relationship Id="rId11" Type="http://schemas.openxmlformats.org/officeDocument/2006/relationships/oleObject" Target="../embeddings/oleObject38.bin"/><Relationship Id="rId5" Type="http://schemas.openxmlformats.org/officeDocument/2006/relationships/tags" Target="../tags/tag41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18.xml"/><Relationship Id="rId9" Type="http://schemas.openxmlformats.org/officeDocument/2006/relationships/tags" Target="../tags/tag42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13" Type="http://schemas.openxmlformats.org/officeDocument/2006/relationships/image" Target="../media/image9.png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12" Type="http://schemas.openxmlformats.org/officeDocument/2006/relationships/image" Target="../media/image1.emf"/><Relationship Id="rId2" Type="http://schemas.openxmlformats.org/officeDocument/2006/relationships/tags" Target="../tags/tag424.xml"/><Relationship Id="rId1" Type="http://schemas.openxmlformats.org/officeDocument/2006/relationships/vmlDrawing" Target="../drawings/vmlDrawing39.vml"/><Relationship Id="rId6" Type="http://schemas.openxmlformats.org/officeDocument/2006/relationships/tags" Target="../tags/tag428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42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26.xml"/><Relationship Id="rId9" Type="http://schemas.openxmlformats.org/officeDocument/2006/relationships/tags" Target="../tags/tag43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13" Type="http://schemas.openxmlformats.org/officeDocument/2006/relationships/image" Target="../media/image9.png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12" Type="http://schemas.openxmlformats.org/officeDocument/2006/relationships/image" Target="../media/image8.emf"/><Relationship Id="rId2" Type="http://schemas.openxmlformats.org/officeDocument/2006/relationships/tags" Target="../tags/tag43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436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43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34.xml"/><Relationship Id="rId9" Type="http://schemas.openxmlformats.org/officeDocument/2006/relationships/tags" Target="../tags/tag439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41.vml"/><Relationship Id="rId6" Type="http://schemas.openxmlformats.org/officeDocument/2006/relationships/tags" Target="../tags/tag444.xml"/><Relationship Id="rId11" Type="http://schemas.openxmlformats.org/officeDocument/2006/relationships/image" Target="../media/image9.png"/><Relationship Id="rId5" Type="http://schemas.openxmlformats.org/officeDocument/2006/relationships/tags" Target="../tags/tag443.xml"/><Relationship Id="rId10" Type="http://schemas.openxmlformats.org/officeDocument/2006/relationships/image" Target="../media/image8.emf"/><Relationship Id="rId4" Type="http://schemas.openxmlformats.org/officeDocument/2006/relationships/tags" Target="../tags/tag442.xml"/><Relationship Id="rId9" Type="http://schemas.openxmlformats.org/officeDocument/2006/relationships/oleObject" Target="../embeddings/oleObject41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47.xml"/><Relationship Id="rId7" Type="http://schemas.openxmlformats.org/officeDocument/2006/relationships/oleObject" Target="../embeddings/oleObject42.bin"/><Relationship Id="rId2" Type="http://schemas.openxmlformats.org/officeDocument/2006/relationships/tags" Target="../tags/tag446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49.xml"/><Relationship Id="rId4" Type="http://schemas.openxmlformats.org/officeDocument/2006/relationships/tags" Target="../tags/tag44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12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5" name="Partnership">
            <a:extLst>
              <a:ext uri="{FF2B5EF4-FFF2-40B4-BE49-F238E27FC236}">
                <a16:creationId xmlns:a16="http://schemas.microsoft.com/office/drawing/2014/main" id="{A8772CBB-049B-42D8-B10E-A3ABB7480ED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138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20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39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947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17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855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342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26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26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EF9E7939-64E5-45F5-B6BF-A705A458D97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Documenttype">
            <a:extLst>
              <a:ext uri="{FF2B5EF4-FFF2-40B4-BE49-F238E27FC236}">
                <a16:creationId xmlns:a16="http://schemas.microsoft.com/office/drawing/2014/main" id="{3D2DA47F-4817-42C7-B6BB-5E8D45EC34B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906852" y="6210300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s-ES_tradnl" dirty="0" err="1"/>
              <a:t>Edit</a:t>
            </a:r>
            <a:r>
              <a:rPr lang="es-ES_tradnl" dirty="0"/>
              <a:t> date </a:t>
            </a:r>
            <a:r>
              <a:rPr lang="es-ES_tradnl" dirty="0" err="1"/>
              <a:t>or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F0662F6-9628-4DEA-9C2E-97CAC3D5DF4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1907993" y="566294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sub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s-ES_tradnl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C8FEADA-A600-4714-9660-76AAAE28F2F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546901" y="4192254"/>
            <a:ext cx="11087888" cy="12311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n-US" sz="4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br>
              <a:rPr lang="es-ES_tradnl" dirty="0"/>
            </a:br>
            <a:r>
              <a:rPr lang="es-ES_tradnl" dirty="0"/>
              <a:t>Master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5325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519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>
              <a:buNone/>
            </a:pPr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sub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s-ES_tradnl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ES_tradnl" dirty="0" err="1"/>
              <a:t>Source</a:t>
            </a:r>
            <a:r>
              <a:rPr lang="es-ES_tradnl" dirty="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 dirty="0" err="1"/>
              <a:t>Add</a:t>
            </a:r>
            <a:r>
              <a:rPr lang="es-ES_tradnl" dirty="0"/>
              <a:t> </a:t>
            </a:r>
            <a:r>
              <a:rPr lang="es-ES_tradnl" dirty="0" err="1"/>
              <a:t>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058319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53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42237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5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733415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22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5163602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12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s-ES_tradnl"/>
              <a:t>“Click to add quote</a:t>
            </a:r>
            <a:endParaRPr lang="es-ES_tradnl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Click to add quote source</a:t>
            </a:r>
            <a:endParaRPr lang="es-ES_tradnl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634368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302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k to edit Master title</a:t>
            </a:r>
            <a:endParaRPr lang="es-ES_tradnl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bg2"/>
                </a:solidFill>
              </a:rPr>
              <a:t>Source: …</a:t>
            </a:r>
            <a:endParaRPr lang="es-ES_tradnl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5FFF46-5366-4706-934A-69BA9EA7CB5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40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578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bg2"/>
                </a:solidFill>
              </a:rPr>
              <a:t>Source: …</a:t>
            </a:r>
            <a:endParaRPr lang="es-ES_tradnl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5F6FEE-CA1E-4286-9C9B-FE7C800127A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992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bg2"/>
                </a:solidFill>
              </a:rPr>
              <a:t>Source: …</a:t>
            </a:r>
            <a:endParaRPr lang="es-ES_tradnl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F3C5EA-27DB-4113-B3A8-39476B3DE91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269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582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bg2"/>
                </a:solidFill>
              </a:rPr>
              <a:t>Source: …</a:t>
            </a:r>
            <a:endParaRPr lang="es-ES_tradnl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7E052B-46C8-4D52-B38F-3D9092E3891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1431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9878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s-ES_tradnl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_tradnl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  <a:endParaRPr kumimoji="0" lang="es-ES_tradnl" sz="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D53463-AEB5-4313-99C4-E691BF3040C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41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24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0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rgbClr val="002B7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rgbClr val="002B7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tx1"/>
                </a:solidFill>
              </a:rPr>
              <a:t>Source: …</a:t>
            </a:r>
            <a:endParaRPr lang="es-ES_tradnl" sz="800" dirty="0">
              <a:solidFill>
                <a:schemeClr val="tx1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2" name="Picture 2" descr="Resultado de imagen para bcp logo">
            <a:extLst>
              <a:ext uri="{FF2B5EF4-FFF2-40B4-BE49-F238E27FC236}">
                <a16:creationId xmlns:a16="http://schemas.microsoft.com/office/drawing/2014/main" id="{20D4C9ED-5527-4BBD-B4DD-39F561A23F41}"/>
              </a:ext>
            </a:extLst>
          </p:cNvPr>
          <p:cNvPicPr>
            <a:picLocks noChangeArrowheads="1"/>
          </p:cNvPicPr>
          <p:nvPr userDrawn="1"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43884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504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_tradnl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rgbClr val="002B73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rgbClr val="002B7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>
                <a:solidFill>
                  <a:schemeClr val="tx1"/>
                </a:solidFill>
              </a:rPr>
              <a:t>Source: …</a:t>
            </a:r>
            <a:endParaRPr lang="es-ES_tradnl" sz="800" dirty="0">
              <a:solidFill>
                <a:schemeClr val="tx1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pic>
        <p:nvPicPr>
          <p:cNvPr id="14" name="Picture 2" descr="Resultado de imagen para bcp logo">
            <a:extLst>
              <a:ext uri="{FF2B5EF4-FFF2-40B4-BE49-F238E27FC236}">
                <a16:creationId xmlns:a16="http://schemas.microsoft.com/office/drawing/2014/main" id="{3FBD9D1F-4681-4DE0-8F3A-91163083B97E}"/>
              </a:ext>
            </a:extLst>
          </p:cNvPr>
          <p:cNvPicPr>
            <a:picLocks noChangeArrowheads="1"/>
          </p:cNvPicPr>
          <p:nvPr userDrawn="1"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359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224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8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s-ES_tradnl" sz="900" b="0" i="0" u="none" strike="noStrike" kern="1200" cap="none" spc="0" normalizeH="0" baseline="0" noProof="0" smtClean="0">
                <a:ln>
                  <a:noFill/>
                </a:ln>
                <a:solidFill>
                  <a:srgbClr val="002B73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_tradnl" sz="900" b="0" i="0" u="none" strike="noStrike" kern="1200" cap="none" spc="0" normalizeH="0" baseline="0" noProof="0" dirty="0">
              <a:ln>
                <a:noFill/>
              </a:ln>
              <a:solidFill>
                <a:srgbClr val="002B73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  <a:endParaRPr kumimoji="0" lang="es-ES_tradnl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s-ES_tradnl"/>
              <a:t>Click to edit Master title</a:t>
            </a:r>
            <a:endParaRPr lang="es-ES_tradnl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_tradnl"/>
              <a:t>Click to edit Master subtitle style</a:t>
            </a:r>
            <a:endParaRPr lang="es-ES_tradnl" dirty="0"/>
          </a:p>
        </p:txBody>
      </p:sp>
      <p:pic>
        <p:nvPicPr>
          <p:cNvPr id="14" name="Picture 2" descr="Resultado de imagen para bcp logo">
            <a:extLst>
              <a:ext uri="{FF2B5EF4-FFF2-40B4-BE49-F238E27FC236}">
                <a16:creationId xmlns:a16="http://schemas.microsoft.com/office/drawing/2014/main" id="{8A4ADE78-B3D1-4CC3-8D84-B32A2D2863AF}"/>
              </a:ext>
            </a:extLst>
          </p:cNvPr>
          <p:cNvPicPr>
            <a:picLocks noChangeArrowheads="1"/>
          </p:cNvPicPr>
          <p:nvPr userDrawn="1"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5073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21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s-ES_tradnl"/>
              <a:t>Click to edit Master title style</a:t>
            </a:r>
            <a:endParaRPr lang="es-ES_tradnl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  <p:pic>
        <p:nvPicPr>
          <p:cNvPr id="11" name="Picture 2" descr="Resultado de imagen para bcp logo">
            <a:extLst>
              <a:ext uri="{FF2B5EF4-FFF2-40B4-BE49-F238E27FC236}">
                <a16:creationId xmlns:a16="http://schemas.microsoft.com/office/drawing/2014/main" id="{E4B36C3B-FFA2-4BE2-9957-0ED22A40D014}"/>
              </a:ext>
            </a:extLst>
          </p:cNvPr>
          <p:cNvPicPr>
            <a:picLocks noChangeArrowheads="1"/>
          </p:cNvPicPr>
          <p:nvPr userDrawn="1"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607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20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_trad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_trad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313689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_tradnl"/>
              <a:t>Add tracke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336031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092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s-ES_tradnl" sz="800"/>
              <a:t>Source: …</a:t>
            </a:r>
            <a:endParaRPr lang="es-ES_tradnl" sz="800" dirty="0"/>
          </a:p>
        </p:txBody>
      </p:sp>
      <p:pic>
        <p:nvPicPr>
          <p:cNvPr id="9" name="Picture 2" descr="Resultado de imagen para bcp logo">
            <a:extLst>
              <a:ext uri="{FF2B5EF4-FFF2-40B4-BE49-F238E27FC236}">
                <a16:creationId xmlns:a16="http://schemas.microsoft.com/office/drawing/2014/main" id="{245317CF-FB48-47DD-89FD-D65896FF34B9}"/>
              </a:ext>
            </a:extLst>
          </p:cNvPr>
          <p:cNvPicPr>
            <a:picLocks noChangeArrowheads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4396304" y="2921000"/>
            <a:ext cx="3399392" cy="10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611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93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theme" Target="../theme/theme3.xml"/><Relationship Id="rId26" Type="http://schemas.openxmlformats.org/officeDocument/2006/relationships/tags" Target="../tags/tag325.xml"/><Relationship Id="rId39" Type="http://schemas.openxmlformats.org/officeDocument/2006/relationships/tags" Target="../tags/tag338.xml"/><Relationship Id="rId21" Type="http://schemas.openxmlformats.org/officeDocument/2006/relationships/tags" Target="../tags/tag320.xml"/><Relationship Id="rId34" Type="http://schemas.openxmlformats.org/officeDocument/2006/relationships/tags" Target="../tags/tag333.xml"/><Relationship Id="rId42" Type="http://schemas.openxmlformats.org/officeDocument/2006/relationships/image" Target="../media/image8.emf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ags" Target="../tags/tag319.xml"/><Relationship Id="rId29" Type="http://schemas.openxmlformats.org/officeDocument/2006/relationships/tags" Target="../tags/tag328.xml"/><Relationship Id="rId41" Type="http://schemas.openxmlformats.org/officeDocument/2006/relationships/oleObject" Target="../embeddings/oleObject26.bin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323.xml"/><Relationship Id="rId32" Type="http://schemas.openxmlformats.org/officeDocument/2006/relationships/tags" Target="../tags/tag331.xml"/><Relationship Id="rId37" Type="http://schemas.openxmlformats.org/officeDocument/2006/relationships/tags" Target="../tags/tag336.xml"/><Relationship Id="rId40" Type="http://schemas.openxmlformats.org/officeDocument/2006/relationships/tags" Target="../tags/tag339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322.xml"/><Relationship Id="rId28" Type="http://schemas.openxmlformats.org/officeDocument/2006/relationships/tags" Target="../tags/tag327.xml"/><Relationship Id="rId36" Type="http://schemas.openxmlformats.org/officeDocument/2006/relationships/tags" Target="../tags/tag335.xml"/><Relationship Id="rId10" Type="http://schemas.openxmlformats.org/officeDocument/2006/relationships/slideLayout" Target="../slideLayouts/slideLayout41.xml"/><Relationship Id="rId19" Type="http://schemas.openxmlformats.org/officeDocument/2006/relationships/vmlDrawing" Target="../drawings/vmlDrawing26.vml"/><Relationship Id="rId31" Type="http://schemas.openxmlformats.org/officeDocument/2006/relationships/tags" Target="../tags/tag33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321.xml"/><Relationship Id="rId27" Type="http://schemas.openxmlformats.org/officeDocument/2006/relationships/tags" Target="../tags/tag326.xml"/><Relationship Id="rId30" Type="http://schemas.openxmlformats.org/officeDocument/2006/relationships/tags" Target="../tags/tag329.xml"/><Relationship Id="rId35" Type="http://schemas.openxmlformats.org/officeDocument/2006/relationships/tags" Target="../tags/tag334.xml"/><Relationship Id="rId43" Type="http://schemas.openxmlformats.org/officeDocument/2006/relationships/image" Target="../media/image9.png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tags" Target="../tags/tag324.xml"/><Relationship Id="rId33" Type="http://schemas.openxmlformats.org/officeDocument/2006/relationships/tags" Target="../tags/tag332.xml"/><Relationship Id="rId38" Type="http://schemas.openxmlformats.org/officeDocument/2006/relationships/tags" Target="../tags/tag3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9725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7505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3"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ES_tradnl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s-ES_tradnl"/>
              <a:t>Click to edit Master title style</a:t>
            </a:r>
            <a:endParaRPr lang="es-ES_tradnl" dirty="0"/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ES_tradnl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ES_tradnl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22836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_tradnl" dirty="0" err="1"/>
              <a:t>Footnotes</a:t>
            </a:r>
            <a:endParaRPr lang="es-ES_tradnl" dirty="0"/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9113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ES_tradnl"/>
              <a:t>STICKER</a:t>
            </a:r>
            <a:endParaRPr lang="es-ES_tradnl" dirty="0"/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ES_tradnl" dirty="0" err="1"/>
              <a:t>Above</a:t>
            </a:r>
            <a:r>
              <a:rPr lang="es-ES_tradnl" dirty="0"/>
              <a:t> Chart </a:t>
            </a:r>
            <a:r>
              <a:rPr lang="es-ES_tradnl" dirty="0" err="1"/>
              <a:t>Exhibit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br>
              <a:rPr lang="es-ES_tradnl" dirty="0"/>
            </a:br>
            <a:r>
              <a:rPr lang="es-ES_tradnl" sz="1400" b="0" dirty="0" err="1"/>
              <a:t>Unit</a:t>
            </a:r>
            <a:r>
              <a:rPr lang="es-ES_tradnl" sz="1400" b="0" dirty="0"/>
              <a:t> of </a:t>
            </a:r>
            <a:r>
              <a:rPr lang="es-ES_tradnl" sz="1400" b="0" dirty="0" err="1"/>
              <a:t>Measure</a:t>
            </a:r>
            <a:endParaRPr lang="es-ES_tradnl" sz="1400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47838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s-ES_tradnl" dirty="0"/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31D35CBC-3599-44D8-8FD8-3A48F81B978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BF3EFDAC-AE80-4F57-AECF-91500668ACC2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ES_tradnl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D09B3A43-2FAB-443D-9A16-D5E04C0B8FF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ES_tradnl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460B57C1-71DD-4DC3-8C2C-EA844E73DB8C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ES_tradnl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6544961B-1317-4248-B964-1682CF932235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ES_tradnl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CC6B514C-A047-4678-B203-26E11507A4C6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ES_tradnl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5DA98380-D163-40C1-856C-B056743ACA2C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7373375-3039-47CA-A585-0CC38454648C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EBEB5C86-1C98-48E8-A2FE-6EB5D401D290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79C2DF46-6414-4E5C-9BF8-160B9D69012D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3F25DC9E-46EF-48DC-81D4-58669FC05CBE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0F858DE-6D3C-49F3-835D-6139536D6940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0C62A4D1-1BD7-48C5-B2E5-FBB0CFAE7CF8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BABF9FF2-144E-419F-8DB9-84D5EB6BF8D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4252046C-4FBE-482C-A76F-1B023264807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01BDB151-70FF-423E-9953-2F3EED89B7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ES_tradnl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74E10BA6-E602-4623-BE99-BF3E889EBA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ES_tradnl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89867EC8-29DB-476D-BDC2-886AA988FF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ES_tradnl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64F7E9CE-F4BF-4578-9BC6-6D27ACE53608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F0E52730-ED9A-404D-9062-9C353FB16287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E9A43DE5-E3B6-44AE-97CD-5C1E0568F3DB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2E89F5F6-18A0-407B-AAF4-5A359554637D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7322BB8C-9111-4075-B000-9FBDF97995BA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457D46B7-EDA5-440F-90B5-6D0CC32354DA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ES_tradnl" sz="1400"/>
                <a:t>Legend</a:t>
              </a:r>
              <a:endParaRPr lang="es-ES_tradnl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D6516B73-AA21-4186-8D10-1B0456D3E39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B7443B9E-77B3-421C-A5B5-C2F09308DC69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F17A0556-F8AA-4CEB-9212-B24558DE278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6AFAE912-A4A6-4053-A98C-B48CCA76187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8FDAE00F-660B-46AE-8100-648F6EF8169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42DD850A-F158-49C6-A276-598687C8538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488540D0-8F3D-459C-B4CE-DDFD4A45E6E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CAF11426-A11F-4686-8EED-4EDB03ADC12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C338DC51-8D20-40CC-8BB5-F197F9C4DF6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83F804C-B8AB-4A75-A0EC-20C58CE76D3D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7BEC3989-6AD2-45BA-8C93-99DC9CF6E4B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F8DD8EE3-D082-4641-BDC5-11EE042C51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B8377B02-32C3-4BC3-8AC9-18DDAE46676D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DA18C792-6850-4949-BB97-854FFAEC411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D15C5654-8398-49DC-B000-5BE76D2CCA5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ES_tradnl" sz="1400" dirty="0"/>
              </a:p>
            </p:txBody>
          </p:sp>
        </p:grpSp>
      </p:grpSp>
      <p:pic>
        <p:nvPicPr>
          <p:cNvPr id="168" name="Picture 2" descr="Resultado de imagen para bcp logo">
            <a:extLst>
              <a:ext uri="{FF2B5EF4-FFF2-40B4-BE49-F238E27FC236}">
                <a16:creationId xmlns:a16="http://schemas.microsoft.com/office/drawing/2014/main" id="{ECC9B7B3-EB17-4211-BE58-520798B5BD9E}"/>
              </a:ext>
            </a:extLst>
          </p:cNvPr>
          <p:cNvPicPr>
            <a:picLocks noChangeArrowheads="1"/>
          </p:cNvPicPr>
          <p:nvPr userDrawn="1"/>
        </p:nvPicPr>
        <p:blipFill>
          <a:blip r:embed="rId4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6829" y="6415227"/>
            <a:ext cx="629510" cy="1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7293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53.xml"/><Relationship Id="rId7" Type="http://schemas.openxmlformats.org/officeDocument/2006/relationships/image" Target="../media/image4.emf"/><Relationship Id="rId2" Type="http://schemas.openxmlformats.org/officeDocument/2006/relationships/tags" Target="../tags/tag452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Layout" Target="../slideLayouts/slideLayout35.xml"/><Relationship Id="rId4" Type="http://schemas.openxmlformats.org/officeDocument/2006/relationships/tags" Target="../tags/tag454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66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8.svg"/><Relationship Id="rId3" Type="http://schemas.openxmlformats.org/officeDocument/2006/relationships/tags" Target="../tags/tag456.xml"/><Relationship Id="rId21" Type="http://schemas.openxmlformats.org/officeDocument/2006/relationships/image" Target="../media/image13.png"/><Relationship Id="rId34" Type="http://schemas.openxmlformats.org/officeDocument/2006/relationships/image" Target="../media/image26.svg"/><Relationship Id="rId7" Type="http://schemas.openxmlformats.org/officeDocument/2006/relationships/tags" Target="../tags/tag460.xml"/><Relationship Id="rId12" Type="http://schemas.openxmlformats.org/officeDocument/2006/relationships/tags" Target="../tags/tag465.xml"/><Relationship Id="rId17" Type="http://schemas.openxmlformats.org/officeDocument/2006/relationships/tags" Target="../tags/tag470.xml"/><Relationship Id="rId25" Type="http://schemas.openxmlformats.org/officeDocument/2006/relationships/image" Target="../media/image17.png"/><Relationship Id="rId33" Type="http://schemas.openxmlformats.org/officeDocument/2006/relationships/image" Target="../media/image25.png"/><Relationship Id="rId2" Type="http://schemas.openxmlformats.org/officeDocument/2006/relationships/tags" Target="../tags/tag455.xml"/><Relationship Id="rId16" Type="http://schemas.openxmlformats.org/officeDocument/2006/relationships/tags" Target="../tags/tag469.xml"/><Relationship Id="rId20" Type="http://schemas.openxmlformats.org/officeDocument/2006/relationships/image" Target="../media/image4.emf"/><Relationship Id="rId29" Type="http://schemas.openxmlformats.org/officeDocument/2006/relationships/image" Target="../media/image21.png"/><Relationship Id="rId1" Type="http://schemas.openxmlformats.org/officeDocument/2006/relationships/vmlDrawing" Target="../drawings/vmlDrawing45.vml"/><Relationship Id="rId6" Type="http://schemas.openxmlformats.org/officeDocument/2006/relationships/tags" Target="../tags/tag459.xml"/><Relationship Id="rId11" Type="http://schemas.openxmlformats.org/officeDocument/2006/relationships/tags" Target="../tags/tag464.xml"/><Relationship Id="rId24" Type="http://schemas.openxmlformats.org/officeDocument/2006/relationships/image" Target="../media/image16.svg"/><Relationship Id="rId32" Type="http://schemas.openxmlformats.org/officeDocument/2006/relationships/image" Target="../media/image24.svg"/><Relationship Id="rId5" Type="http://schemas.openxmlformats.org/officeDocument/2006/relationships/tags" Target="../tags/tag458.xml"/><Relationship Id="rId15" Type="http://schemas.openxmlformats.org/officeDocument/2006/relationships/tags" Target="../tags/tag468.xml"/><Relationship Id="rId23" Type="http://schemas.openxmlformats.org/officeDocument/2006/relationships/image" Target="../media/image15.png"/><Relationship Id="rId28" Type="http://schemas.openxmlformats.org/officeDocument/2006/relationships/image" Target="../media/image20.svg"/><Relationship Id="rId10" Type="http://schemas.openxmlformats.org/officeDocument/2006/relationships/tags" Target="../tags/tag463.xml"/><Relationship Id="rId19" Type="http://schemas.openxmlformats.org/officeDocument/2006/relationships/oleObject" Target="../embeddings/oleObject45.bin"/><Relationship Id="rId31" Type="http://schemas.openxmlformats.org/officeDocument/2006/relationships/image" Target="../media/image23.png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tags" Target="../tags/tag467.xml"/><Relationship Id="rId22" Type="http://schemas.openxmlformats.org/officeDocument/2006/relationships/image" Target="../media/image14.svg"/><Relationship Id="rId27" Type="http://schemas.openxmlformats.org/officeDocument/2006/relationships/image" Target="../media/image19.png"/><Relationship Id="rId30" Type="http://schemas.openxmlformats.org/officeDocument/2006/relationships/image" Target="../media/image22.svg"/><Relationship Id="rId8" Type="http://schemas.openxmlformats.org/officeDocument/2006/relationships/tags" Target="../tags/tag4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>
            <a:extLst>
              <a:ext uri="{FF2B5EF4-FFF2-40B4-BE49-F238E27FC236}">
                <a16:creationId xmlns:a16="http://schemas.microsoft.com/office/drawing/2014/main" id="{182B5C5F-AD69-46A9-80A1-E28ED56122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868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3" hidden="1">
                        <a:extLst>
                          <a:ext uri="{FF2B5EF4-FFF2-40B4-BE49-F238E27FC236}">
                            <a16:creationId xmlns:a16="http://schemas.microsoft.com/office/drawing/2014/main" id="{182B5C5F-AD69-46A9-80A1-E28ED5612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3FF6AE5D-16CE-4300-87DA-7F57BDA4C7E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/>
          <a:lstStyle/>
          <a:p>
            <a:r>
              <a:rPr lang="es-PE" dirty="0"/>
              <a:t>Guía del caso técnico para candidatos Backend Java</a:t>
            </a:r>
            <a:endParaRPr lang="es-CO" dirty="0"/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4746282-9A26-44DA-83CB-E60F4A6C6D89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86740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0FE6CC97-4387-43FC-9E54-E5348FD713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0FE6CC97-4387-43FC-9E54-E5348FD71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B2B38F1-D349-430F-92E2-F41A76D6A7E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359331"/>
            <a:ext cx="3465576" cy="1292662"/>
          </a:xfrm>
        </p:spPr>
        <p:txBody>
          <a:bodyPr vert="horz">
            <a:noAutofit/>
          </a:bodyPr>
          <a:lstStyle/>
          <a:p>
            <a:r>
              <a:rPr lang="es-CO" sz="2800" dirty="0"/>
              <a:t>Actividades previas requeridas para el candidato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E5F46FD-2AD9-4C9B-93C0-DB790537A5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2797827"/>
            <a:ext cx="3465575" cy="246221"/>
          </a:xfrm>
        </p:spPr>
        <p:txBody>
          <a:bodyPr/>
          <a:lstStyle/>
          <a:p>
            <a:r>
              <a:rPr lang="es-CO" dirty="0"/>
              <a:t>Java </a:t>
            </a:r>
            <a:r>
              <a:rPr lang="es-CO" dirty="0" err="1"/>
              <a:t>Backend</a:t>
            </a:r>
            <a:r>
              <a:rPr lang="es-CO" dirty="0"/>
              <a:t> – Entrevista técnica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0B38C123-3ED6-4B5A-A533-C7C6F5D3A9CE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4EB79F-4AFD-4235-B932-72C9DB3B0F3C}"/>
              </a:ext>
            </a:extLst>
          </p:cNvPr>
          <p:cNvSpPr txBox="1">
            <a:spLocks/>
          </p:cNvSpPr>
          <p:nvPr/>
        </p:nvSpPr>
        <p:spPr>
          <a:xfrm>
            <a:off x="554736" y="4510978"/>
            <a:ext cx="3465576" cy="14619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900" b="1" i="0" u="none" strike="noStrike" kern="1200" cap="none" spc="0" normalizeH="0" baseline="0" noProof="0" dirty="0">
                <a:ln>
                  <a:noFill/>
                </a:ln>
                <a:solidFill>
                  <a:srgbClr val="002B73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Antes de su tiempo de evaluación programado, por favor esté preparado después de haber completado los elementos en esta página</a:t>
            </a:r>
          </a:p>
        </p:txBody>
      </p:sp>
      <p:grpSp>
        <p:nvGrpSpPr>
          <p:cNvPr id="27" name="CustomIcon">
            <a:extLst>
              <a:ext uri="{FF2B5EF4-FFF2-40B4-BE49-F238E27FC236}">
                <a16:creationId xmlns:a16="http://schemas.microsoft.com/office/drawing/2014/main" id="{44985D9B-A0D0-417D-868B-BF9FF45D597C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604010" y="3706878"/>
            <a:ext cx="749484" cy="749484"/>
            <a:chOff x="-205105" y="-205105"/>
            <a:chExt cx="1019810" cy="101981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FAAF263-462E-4507-B781-52E6C37648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2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B25234B5-2948-4488-AB11-0594EC699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770AF5B-5C1A-4547-9FB9-BBACB3E7678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913376" y="1154998"/>
            <a:ext cx="3080004" cy="7617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1. Clone este repositorio de GitHub: </a:t>
            </a:r>
            <a:b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</a:b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2D7D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https://github.com/localtestcase/java-rest-api-calculato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A40095-93A3-447F-8E6E-80BA761A39F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49312" y="1167309"/>
            <a:ext cx="3171188" cy="6694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2. Instale todas las dependencias (JDK, Apache Maven, Docker/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Nodejs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, base de datos H2, sugerido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Postman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) </a:t>
            </a:r>
          </a:p>
        </p:txBody>
      </p:sp>
      <p:grpSp>
        <p:nvGrpSpPr>
          <p:cNvPr id="37" name="CustomIcon">
            <a:extLst>
              <a:ext uri="{FF2B5EF4-FFF2-40B4-BE49-F238E27FC236}">
                <a16:creationId xmlns:a16="http://schemas.microsoft.com/office/drawing/2014/main" id="{DED23032-6A9F-4F14-B7EE-85E324C66848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4913376" y="500114"/>
            <a:ext cx="610648" cy="612000"/>
            <a:chOff x="-205105" y="-205105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0634FA0-B1C6-492A-873E-75F957D880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7646FEF3-5C6B-4D9F-9F20-14DD7A347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65E9A45-2DC9-411A-9788-158F43E5232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913376" y="2774293"/>
            <a:ext cx="3080004" cy="171816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3. Asegúrese de que el comando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mvn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clean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test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 puede ser ejecutado  y que la prueba unitaria falla con este mensaje: 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AddServiceTest.addIntegers:18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expected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&lt;-1&gt;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but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</a:t>
            </a:r>
            <a:r>
              <a:rPr kumimoji="0" lang="es-CO" sz="14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was</a:t>
            </a: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: &lt;5&gt;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BBA45D2-93C5-4C58-9C81-5DD86AE81F7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540496" y="2817766"/>
            <a:ext cx="3080004" cy="7617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4. Tenga su editor de código o IDE favorito ejecutándose cuando comencemos la evaluació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DD7EE26-EC76-4399-A66F-0AE760F8BC4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913376" y="5343845"/>
            <a:ext cx="3080004" cy="89255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5. Debe tener el manejador de base de datos H2 activo en su entorno y estar preparado para conectar la aplicación a esta base de dato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30C1502-1581-4FA2-9F08-6AE5E85927B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540496" y="5343845"/>
            <a:ext cx="3080004" cy="6694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6. Prepárese para compartir tu pantalla durante la entrevista técnica</a:t>
            </a:r>
          </a:p>
        </p:txBody>
      </p:sp>
      <p:grpSp>
        <p:nvGrpSpPr>
          <p:cNvPr id="55" name="CustomIcon">
            <a:extLst>
              <a:ext uri="{FF2B5EF4-FFF2-40B4-BE49-F238E27FC236}">
                <a16:creationId xmlns:a16="http://schemas.microsoft.com/office/drawing/2014/main" id="{83A06C9B-5489-4C8E-982C-4A2FE17D4EE6}"/>
              </a:ext>
            </a:extLst>
          </p:cNvPr>
          <p:cNvGrpSpPr>
            <a:grpSpLocks/>
          </p:cNvGrpSpPr>
          <p:nvPr>
            <p:custDataLst>
              <p:tags r:id="rId13"/>
            </p:custDataLst>
          </p:nvPr>
        </p:nvGrpSpPr>
        <p:grpSpPr>
          <a:xfrm>
            <a:off x="8540496" y="4682388"/>
            <a:ext cx="610648" cy="612000"/>
            <a:chOff x="-205105" y="-205105"/>
            <a:chExt cx="1019810" cy="101981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E95A1787-3E26-4014-B12D-536DFC68EA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DBD72555-BBB4-49B1-9040-201C7930F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87" name="CustomIcon">
            <a:extLst>
              <a:ext uri="{FF2B5EF4-FFF2-40B4-BE49-F238E27FC236}">
                <a16:creationId xmlns:a16="http://schemas.microsoft.com/office/drawing/2014/main" id="{8BB7C4D1-CB0A-4D08-890D-8CA5334F9DDB}"/>
              </a:ext>
            </a:extLst>
          </p:cNvPr>
          <p:cNvGrpSpPr>
            <a:grpSpLocks/>
          </p:cNvGrpSpPr>
          <p:nvPr>
            <p:custDataLst>
              <p:tags r:id="rId14"/>
            </p:custDataLst>
          </p:nvPr>
        </p:nvGrpSpPr>
        <p:grpSpPr>
          <a:xfrm>
            <a:off x="8449312" y="500114"/>
            <a:ext cx="610648" cy="612000"/>
            <a:chOff x="-205105" y="-205105"/>
            <a:chExt cx="1019810" cy="101981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770CF67D-7EAF-4658-A639-7A9E41B49B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2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7CE9DEB0-6657-40B6-82C2-F0447780A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2" name="CustomIcon">
            <a:extLst>
              <a:ext uri="{FF2B5EF4-FFF2-40B4-BE49-F238E27FC236}">
                <a16:creationId xmlns:a16="http://schemas.microsoft.com/office/drawing/2014/main" id="{4407A6A6-BA5B-40E6-8B4A-A19312220866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>
          <a:xfrm>
            <a:off x="4913376" y="2131827"/>
            <a:ext cx="610648" cy="612000"/>
            <a:chOff x="-205105" y="-205105"/>
            <a:chExt cx="1019810" cy="101981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8E489E0-584D-4A20-9C65-D6DAD8F05F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2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AEDEFA97-A7B6-4EB3-8263-C89467CA2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5" name="CustomIcon">
            <a:extLst>
              <a:ext uri="{FF2B5EF4-FFF2-40B4-BE49-F238E27FC236}">
                <a16:creationId xmlns:a16="http://schemas.microsoft.com/office/drawing/2014/main" id="{EA6A525F-E396-4DF4-BC81-FBD054134F7A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>
          <a:xfrm>
            <a:off x="8540496" y="2131827"/>
            <a:ext cx="610648" cy="612000"/>
            <a:chOff x="-205105" y="-205105"/>
            <a:chExt cx="1019810" cy="101981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2158AB14-EFA3-4443-93F8-BEEC390208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2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C6744F34-2BA8-4FAC-8CDD-491FBADA8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98" name="CustomIcon">
            <a:extLst>
              <a:ext uri="{FF2B5EF4-FFF2-40B4-BE49-F238E27FC236}">
                <a16:creationId xmlns:a16="http://schemas.microsoft.com/office/drawing/2014/main" id="{D4F9CA00-5BE9-4034-97E0-0F89587FBA1A}"/>
              </a:ext>
            </a:extLst>
          </p:cNvPr>
          <p:cNvGrpSpPr>
            <a:grpSpLocks/>
          </p:cNvGrpSpPr>
          <p:nvPr>
            <p:custDataLst>
              <p:tags r:id="rId17"/>
            </p:custDataLst>
          </p:nvPr>
        </p:nvGrpSpPr>
        <p:grpSpPr>
          <a:xfrm>
            <a:off x="4913376" y="4682388"/>
            <a:ext cx="610648" cy="612000"/>
            <a:chOff x="-205105" y="-205105"/>
            <a:chExt cx="1019810" cy="101981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846C113-C8E9-4BF0-AA4E-2BF757304E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s-CO" sz="142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6B341D07-4CED-460C-AE49-767DE77C9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7108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2-01-07 01:19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5"/>
  <p:tag name="TOP" val="110"/>
  <p:tag name="HEIGHT" val="180"/>
  <p:tag name="WIDTH" val="4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90"/>
  <p:tag name="TOP" val="110"/>
  <p:tag name="HEIGHT" val="180"/>
  <p:tag name="WIDTH" val="425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5"/>
  <p:tag name="TOP" val="310"/>
  <p:tag name="HEIGHT" val="180"/>
  <p:tag name="WIDTH" val="42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5"/>
  <p:tag name="TOP" val="310"/>
  <p:tag name="HEIGHT" val="180"/>
  <p:tag name="WIDTH" val="42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5"/>
  <p:tag name="TOP" val="310"/>
  <p:tag name="HEIGHT" val="180"/>
  <p:tag name="WIDTH" val="425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838423649705212"/>
  <p:tag name="LEFT" val="45"/>
  <p:tag name="TOP" val="310"/>
  <p:tag name="HEIGHT" val="180"/>
  <p:tag name="WIDTH" val="42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3F3F1B3-6474-4090-9DDD-93ADAA306497}" vid="{6B29A0EF-93A1-4B0F-9B98-3A3781F585FE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3F3F1B3-6474-4090-9DDD-93ADAA306497}" vid="{AEFECE1B-3E58-4DA0-A112-754F75D0BDE3}"/>
    </a:ext>
  </a:extLst>
</a:theme>
</file>

<file path=ppt/theme/theme3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01B48"/>
      </a:lt1>
      <a:dk2>
        <a:srgbClr val="002B73"/>
      </a:dk2>
      <a:lt2>
        <a:srgbClr val="002B73"/>
      </a:lt2>
      <a:accent1>
        <a:srgbClr val="FFFFFF"/>
      </a:accent1>
      <a:accent2>
        <a:srgbClr val="FFC000"/>
      </a:accent2>
      <a:accent3>
        <a:srgbClr val="2D7DFF"/>
      </a:accent3>
      <a:accent4>
        <a:srgbClr val="595959"/>
      </a:accent4>
      <a:accent5>
        <a:srgbClr val="DDDDDD"/>
      </a:accent5>
      <a:accent6>
        <a:srgbClr val="00235C"/>
      </a:accent6>
      <a:hlink>
        <a:srgbClr val="0000FF"/>
      </a:hlink>
      <a:folHlink>
        <a:srgbClr val="800080"/>
      </a:folHlink>
    </a:clrScheme>
    <a:fontScheme name="Custo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FFFFFF"/>
          </a:buClr>
          <a:buSzTx/>
          <a:buFontTx/>
          <a:buNone/>
          <a:tabLst/>
          <a:defRPr kumimoji="0" sz="1428" b="0" i="0" u="none" strike="noStrike" kern="1200" cap="none" spc="0" normalizeH="0" baseline="0" noProof="0" dirty="0">
            <a:ln>
              <a:noFill/>
            </a:ln>
            <a:solidFill>
              <a:srgbClr val="FFFFFF"/>
            </a:solidFill>
            <a:effectLst/>
            <a:uLnTx/>
            <a:uFillTx/>
            <a:latin typeface="Trebuchet MS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1B48"/>
        </a:lt1>
        <a:dk2>
          <a:srgbClr val="002B73"/>
        </a:dk2>
        <a:lt2>
          <a:srgbClr val="002B73"/>
        </a:lt2>
        <a:accent1>
          <a:srgbClr val="FFFFFF"/>
        </a:accent1>
        <a:accent2>
          <a:srgbClr val="FFC000"/>
        </a:accent2>
        <a:accent3>
          <a:srgbClr val="2D7DFF"/>
        </a:accent3>
        <a:accent4>
          <a:srgbClr val="595959"/>
        </a:accent4>
        <a:accent5>
          <a:srgbClr val="DDDDDD"/>
        </a:accent5>
        <a:accent6>
          <a:srgbClr val="00235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 bcp.potx" id="{738D20CC-3460-48B7-B2A1-9FA270182C31}" vid="{08184821-C38C-4726-8F81-DFC0E051001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85D60CA0A35B440856A5E783D449DEB" ma:contentTypeVersion="10" ma:contentTypeDescription="Crear nuevo documento." ma:contentTypeScope="" ma:versionID="87eb0e34c91b2ceaf55cc1da5d3a8918">
  <xsd:schema xmlns:xsd="http://www.w3.org/2001/XMLSchema" xmlns:xs="http://www.w3.org/2001/XMLSchema" xmlns:p="http://schemas.microsoft.com/office/2006/metadata/properties" xmlns:ns2="cb4fe5d3-ba74-4a06-9567-695d273d8e58" xmlns:ns3="56ce9ca9-c213-443a-a935-7689dbd35625" targetNamespace="http://schemas.microsoft.com/office/2006/metadata/properties" ma:root="true" ma:fieldsID="f5517d8edebe5430ad964a5f214679c5" ns2:_="" ns3:_="">
    <xsd:import namespace="cb4fe5d3-ba74-4a06-9567-695d273d8e58"/>
    <xsd:import namespace="56ce9ca9-c213-443a-a935-7689dbd356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4fe5d3-ba74-4a06-9567-695d273d8e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ce9ca9-c213-443a-a935-7689dbd3562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9a16ab6-064a-4d59-be2b-9c7cab2e0748}" ma:internalName="TaxCatchAll" ma:showField="CatchAllData" ma:web="56ce9ca9-c213-443a-a935-7689dbd3562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b4fe5d3-ba74-4a06-9567-695d273d8e58">
      <Terms xmlns="http://schemas.microsoft.com/office/infopath/2007/PartnerControls"/>
    </lcf76f155ced4ddcb4097134ff3c332f>
    <TaxCatchAll xmlns="56ce9ca9-c213-443a-a935-7689dbd35625" xsi:nil="true"/>
  </documentManagement>
</p:properties>
</file>

<file path=customXml/itemProps1.xml><?xml version="1.0" encoding="utf-8"?>
<ds:datastoreItem xmlns:ds="http://schemas.openxmlformats.org/officeDocument/2006/customXml" ds:itemID="{7B214074-8F15-4396-8A4C-16A26F548EAD}"/>
</file>

<file path=customXml/itemProps2.xml><?xml version="1.0" encoding="utf-8"?>
<ds:datastoreItem xmlns:ds="http://schemas.openxmlformats.org/officeDocument/2006/customXml" ds:itemID="{6CE8EEA2-270F-484F-A88E-8050A1436023}"/>
</file>

<file path=customXml/itemProps3.xml><?xml version="1.0" encoding="utf-8"?>
<ds:datastoreItem xmlns:ds="http://schemas.openxmlformats.org/officeDocument/2006/customXml" ds:itemID="{F0B1ACFD-B495-4237-A82E-A3094651E36F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02</TotalTime>
  <Words>174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ourier New</vt:lpstr>
      <vt:lpstr>Georgia</vt:lpstr>
      <vt:lpstr>Segoe UI</vt:lpstr>
      <vt:lpstr>Trebuchet MS</vt:lpstr>
      <vt:lpstr>Wingdings</vt:lpstr>
      <vt:lpstr>White</vt:lpstr>
      <vt:lpstr>Contrast</vt:lpstr>
      <vt:lpstr>1_Contrast</vt:lpstr>
      <vt:lpstr>think-cell Slide</vt:lpstr>
      <vt:lpstr>Guía del caso técnico para candidatos Backend Java</vt:lpstr>
      <vt:lpstr>Actividades previas requeridas para el candidato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ía de DevSkiller para candidatos</dc:title>
  <dc:subject/>
  <dc:creator>Marisa Patricia Gavidia Rosario - EMP. PROV. - McKinsey &amp; Company</dc:creator>
  <cp:keywords/>
  <dc:description/>
  <cp:lastModifiedBy>Katiza Baraka Rios</cp:lastModifiedBy>
  <cp:revision>36</cp:revision>
  <cp:lastPrinted>2018-10-30T20:37:12Z</cp:lastPrinted>
  <dcterms:created xsi:type="dcterms:W3CDTF">2022-03-25T15:00:02Z</dcterms:created>
  <dcterms:modified xsi:type="dcterms:W3CDTF">2022-06-15T03:20:1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2-01-07 01:19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885D60CA0A35B440856A5E783D449DEB</vt:lpwstr>
  </property>
  <property fmtid="{D5CDD505-2E9C-101B-9397-08002B2CF9AE}" pid="10" name="Order">
    <vt:r8>5439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TriggerFlowInfo">
    <vt:lpwstr/>
  </property>
  <property fmtid="{D5CDD505-2E9C-101B-9397-08002B2CF9AE}" pid="14" name="_SourceUrl">
    <vt:lpwstr/>
  </property>
  <property fmtid="{D5CDD505-2E9C-101B-9397-08002B2CF9AE}" pid="15" name="_SharedFileIndex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MediaServiceImageTags">
    <vt:lpwstr/>
  </property>
</Properties>
</file>